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0" r:id="rId1"/>
    <p:sldMasterId id="2147483688" r:id="rId2"/>
  </p:sldMasterIdLst>
  <p:sldIdLst>
    <p:sldId id="256" r:id="rId3"/>
    <p:sldId id="257" r:id="rId4"/>
    <p:sldId id="259" r:id="rId5"/>
    <p:sldId id="258" r:id="rId6"/>
    <p:sldId id="260" r:id="rId7"/>
    <p:sldId id="261" r:id="rId8"/>
    <p:sldId id="262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356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85747" y="4174049"/>
            <a:ext cx="9820507" cy="990601"/>
          </a:xfrm>
          <a:effectLst>
            <a:outerShdw blurRad="50800" dist="38100" dir="8100000" algn="tr" rotWithShape="0">
              <a:schemeClr val="bg1"/>
            </a:outerShdw>
          </a:effectLst>
        </p:spPr>
        <p:txBody>
          <a:bodyPr>
            <a:normAutofit/>
          </a:bodyPr>
          <a:lstStyle>
            <a:lvl1pPr algn="ctr">
              <a:defRPr sz="3600">
                <a:solidFill>
                  <a:srgbClr val="00467F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5240849"/>
            <a:ext cx="8534400" cy="685800"/>
          </a:xfrm>
        </p:spPr>
        <p:txBody>
          <a:bodyPr/>
          <a:lstStyle>
            <a:lvl1pPr marL="0" indent="0" algn="ctr">
              <a:buNone/>
              <a:defRPr>
                <a:solidFill>
                  <a:srgbClr val="0046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483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 and Bullet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34966"/>
            <a:ext cx="11480800" cy="63976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i="0">
                <a:solidFill>
                  <a:srgbClr val="1F497D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0200" y="1906260"/>
            <a:ext cx="11480800" cy="43736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2995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rgbClr val="00467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34966"/>
            <a:ext cx="5689600" cy="63976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i="0">
                <a:solidFill>
                  <a:srgbClr val="00467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0200" y="1906260"/>
            <a:ext cx="5689600" cy="43736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1767" y="1234966"/>
            <a:ext cx="5691835" cy="63976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i="0">
                <a:solidFill>
                  <a:srgbClr val="00467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1767" y="1906260"/>
            <a:ext cx="5691835" cy="43736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962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- Center 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7540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ubhead and Bullet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 anchorCtr="0">
            <a:normAutofit/>
          </a:bodyPr>
          <a:lstStyle>
            <a:lvl1pPr>
              <a:defRPr lang="en-US" dirty="0"/>
            </a:lvl1pPr>
          </a:lstStyle>
          <a:p>
            <a:pPr lvl="0" algn="l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34966"/>
            <a:ext cx="11480800" cy="63976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i="0">
                <a:solidFill>
                  <a:srgbClr val="00467F"/>
                </a:solidFill>
                <a:latin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0200" y="1906260"/>
            <a:ext cx="11480800" cy="4373672"/>
          </a:xfrm>
        </p:spPr>
        <p:txBody>
          <a:bodyPr>
            <a:normAutofit/>
          </a:bodyPr>
          <a:lstStyle>
            <a:lvl1pPr>
              <a:defRPr sz="18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400">
                <a:latin typeface="Arial" pitchFamily="34" charset="0"/>
              </a:defRPr>
            </a:lvl3pPr>
            <a:lvl4pPr>
              <a:defRPr sz="1200">
                <a:latin typeface="Arial" pitchFamily="34" charset="0"/>
              </a:defRPr>
            </a:lvl4pPr>
            <a:lvl5pPr>
              <a:defRPr sz="1200">
                <a:latin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554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 anchorCtr="0">
            <a:norm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34966"/>
            <a:ext cx="11480800" cy="63976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i="0">
                <a:solidFill>
                  <a:schemeClr val="accent6"/>
                </a:solidFill>
                <a:latin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0200" y="1906260"/>
            <a:ext cx="11480800" cy="4373672"/>
          </a:xfrm>
        </p:spPr>
        <p:txBody>
          <a:bodyPr>
            <a:normAutofit/>
          </a:bodyPr>
          <a:lstStyle>
            <a:lvl1pPr>
              <a:defRPr sz="18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400">
                <a:latin typeface="Arial" pitchFamily="34" charset="0"/>
              </a:defRPr>
            </a:lvl3pPr>
            <a:lvl4pPr>
              <a:defRPr sz="1200">
                <a:latin typeface="Arial" pitchFamily="34" charset="0"/>
              </a:defRPr>
            </a:lvl4pPr>
            <a:lvl5pPr>
              <a:defRPr sz="1200">
                <a:latin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23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 anchorCtr="0">
            <a:normAutofit/>
          </a:bodyPr>
          <a:lstStyle>
            <a:lvl1pPr>
              <a:defRPr lang="en-US" dirty="0"/>
            </a:lvl1pPr>
          </a:lstStyle>
          <a:p>
            <a:pPr lvl="0" algn="l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234966"/>
            <a:ext cx="11480800" cy="63976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="0" i="0">
                <a:solidFill>
                  <a:schemeClr val="accent6"/>
                </a:solidFill>
                <a:latin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0200" y="1906260"/>
            <a:ext cx="11480800" cy="4373672"/>
          </a:xfrm>
        </p:spPr>
        <p:txBody>
          <a:bodyPr>
            <a:normAutofit/>
          </a:bodyPr>
          <a:lstStyle>
            <a:lvl1pPr>
              <a:defRPr sz="18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400">
                <a:latin typeface="Arial" pitchFamily="34" charset="0"/>
              </a:defRPr>
            </a:lvl3pPr>
            <a:lvl4pPr>
              <a:defRPr sz="1200">
                <a:latin typeface="Arial" pitchFamily="34" charset="0"/>
              </a:defRPr>
            </a:lvl4pPr>
            <a:lvl5pPr>
              <a:defRPr sz="1200">
                <a:latin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4333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734892-1865-41F1-B489-6CD60FDBB7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CEEC16-D917-488F-BD4C-B5DE2D79A3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81BE55-4D8C-4E5F-9B66-34EA088C36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EE1DD-5B42-4061-B640-71AFA9DB5B70}" type="datetimeFigureOut">
              <a:rPr lang="en-US" smtClean="0"/>
              <a:t>4/1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E1E440-6A61-4CCB-8183-09010B0E1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B9C2AE-342F-4E41-828B-2975EED52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325CA-F06C-48A1-AF50-5DDD2DFC2D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908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FEE8D7-B8CF-4D6D-A8FC-D8E066351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2E6CF7-3A24-4880-9BA7-D70D8712B6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89BB39-BBC4-4A97-AE00-A4D191F402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EE1DD-5B42-4061-B640-71AFA9DB5B70}" type="datetimeFigureOut">
              <a:rPr lang="en-US" smtClean="0"/>
              <a:t>4/1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B70B82-9D32-4347-A2DF-C3BD04531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72D3E5-88C4-47F6-BEFE-13C2AD737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325CA-F06C-48A1-AF50-5DDD2DFC2D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30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E204D-0C6D-412A-8875-45AB4F6A5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C12D11-3C27-4CBA-BB45-D7C355E2FF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8F35AD-46C6-480C-95C5-333572D9C9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EE1DD-5B42-4061-B640-71AFA9DB5B70}" type="datetimeFigureOut">
              <a:rPr lang="en-US" smtClean="0"/>
              <a:t>4/1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F2F03B-234E-48B1-826E-1EE81F233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61CDC0-C2CD-4D91-A640-07406842A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325CA-F06C-48A1-AF50-5DDD2DFC2D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825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3E201B-9530-4CFF-A652-0752CC48A8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56C545-A058-4DCA-9905-004B8D494F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2419D1-D487-4F1B-963B-333BC367BC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4DB1AF-2AFE-4D4C-B388-C22CFDB346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EE1DD-5B42-4061-B640-71AFA9DB5B70}" type="datetimeFigureOut">
              <a:rPr lang="en-US" smtClean="0"/>
              <a:t>4/1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C2CD12-4527-448C-92DF-88CE64627E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340973-2188-4011-ADDD-62B538B97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325CA-F06C-48A1-AF50-5DDD2DFC2D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22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137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E90E33-66A0-47CE-B21A-4F1FB9212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4228D7-736A-49CE-8C3D-3FFFD6BAF7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A4309E-70CE-47C2-9A1C-984917E4B4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2D8268-6E73-4105-A410-688206D8F60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BEA584-F276-4809-B7D9-2AC941C5601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47857FD-C1BE-472F-BB7E-8F6903AE2A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EE1DD-5B42-4061-B640-71AFA9DB5B70}" type="datetimeFigureOut">
              <a:rPr lang="en-US" smtClean="0"/>
              <a:t>4/16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5D13FC8-ED76-49D9-A2ED-F807236945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1108763-D8A8-4661-9AA5-2E4314E853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325CA-F06C-48A1-AF50-5DDD2DFC2D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8460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AC1FE-3BFE-4C2B-ABB6-94A6E1239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117D48-D879-46A5-AD29-65891209C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EE1DD-5B42-4061-B640-71AFA9DB5B70}" type="datetimeFigureOut">
              <a:rPr lang="en-US" smtClean="0"/>
              <a:t>4/16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522C18-524B-45F8-BB47-39FC5E10E6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C2AAAA-59DD-43FC-94E2-5C677B91B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325CA-F06C-48A1-AF50-5DDD2DFC2D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83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617A43-643B-45B2-AB77-D087FA443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EE1DD-5B42-4061-B640-71AFA9DB5B70}" type="datetimeFigureOut">
              <a:rPr lang="en-US" smtClean="0"/>
              <a:t>4/16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228271-CAF1-4269-BD10-C78DCA155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7142B4-A810-4D29-BDF0-C83D58DD9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325CA-F06C-48A1-AF50-5DDD2DFC2D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12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8350F-7B77-4378-807E-85847F0B4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EFDB1F-F015-48C2-B983-F5BDEDB534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8CE78E-227E-452C-8014-41426C3011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DA7B35-50AF-415D-98A2-824C92CDB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EE1DD-5B42-4061-B640-71AFA9DB5B70}" type="datetimeFigureOut">
              <a:rPr lang="en-US" smtClean="0"/>
              <a:t>4/1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0BAB46-3D42-45CD-B360-213B21626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56C8DA-08E4-4A4F-B4E6-617783206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325CA-F06C-48A1-AF50-5DDD2DFC2D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2436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43730E-ECD5-407F-A1E5-10A57C30A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F14E45-ADBD-4282-951D-CED3E10181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E8E294-84D5-4BAC-A761-D46E3738C7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4EC3CD-6450-4B94-8693-2827C84940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EE1DD-5B42-4061-B640-71AFA9DB5B70}" type="datetimeFigureOut">
              <a:rPr lang="en-US" smtClean="0"/>
              <a:t>4/16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59AADE-58E1-4ADB-832E-D38AF7B2BC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EEA689-A005-47C1-81A5-4FB02071B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325CA-F06C-48A1-AF50-5DDD2DFC2D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1154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1860AF-0316-47FF-8D0C-D474480E2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714F228-7438-4BAA-AFFB-95D2DC9423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46E0CB-5D70-4809-89DE-7DEBA78B9A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EE1DD-5B42-4061-B640-71AFA9DB5B70}" type="datetimeFigureOut">
              <a:rPr lang="en-US" smtClean="0"/>
              <a:t>4/1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7883AB-E9A9-412D-9E34-2E2537869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860AD1-3DD5-4FBA-BD93-E14FCA91C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325CA-F06C-48A1-AF50-5DDD2DFC2D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5536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C7F841B-4CA7-45E1-9B48-1E4B7261BC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AF44AE-DDAA-4636-978A-71DB9620AD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33FA0E-8C4B-4552-9D76-B02DD0DE27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EE1DD-5B42-4061-B640-71AFA9DB5B70}" type="datetimeFigureOut">
              <a:rPr lang="en-US" smtClean="0"/>
              <a:t>4/1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A53BE5-3E31-40F2-AA8B-64DF9DBFE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6355B4-E782-454A-8373-F5A9818A69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325CA-F06C-48A1-AF50-5DDD2DFC2D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6615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1562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379" y="1295400"/>
            <a:ext cx="5710621" cy="50292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95400"/>
            <a:ext cx="5689600" cy="50292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8675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399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74162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ransition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85747" y="1981200"/>
            <a:ext cx="9820507" cy="1295400"/>
          </a:xfrm>
          <a:effectLst>
            <a:outerShdw blurRad="50800" dist="38100" dir="8100000" algn="tr" rotWithShape="0">
              <a:schemeClr val="bg1"/>
            </a:outerShdw>
          </a:effectLst>
        </p:spPr>
        <p:txBody>
          <a:bodyPr>
            <a:normAutofit/>
          </a:bodyPr>
          <a:lstStyle>
            <a:lvl1pPr algn="ctr">
              <a:defRPr sz="3600">
                <a:solidFill>
                  <a:srgbClr val="00467F"/>
                </a:solidFill>
              </a:defRPr>
            </a:lvl1pPr>
          </a:lstStyle>
          <a:p>
            <a:r>
              <a:rPr lang="en-US" dirty="0"/>
              <a:t>Click to edit Transition Slide with background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733800"/>
            <a:ext cx="8534400" cy="685800"/>
          </a:xfrm>
        </p:spPr>
        <p:txBody>
          <a:bodyPr/>
          <a:lstStyle>
            <a:lvl1pPr marL="0" indent="0" algn="ctr">
              <a:buNone/>
              <a:defRPr>
                <a:solidFill>
                  <a:srgbClr val="0046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Transition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63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ransition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85747" y="1981200"/>
            <a:ext cx="9820507" cy="1295400"/>
          </a:xfrm>
          <a:effectLst>
            <a:outerShdw blurRad="50800" dist="38100" dir="8100000" algn="tr" rotWithShape="0">
              <a:schemeClr val="bg1"/>
            </a:outerShdw>
          </a:effectLst>
        </p:spPr>
        <p:txBody>
          <a:bodyPr>
            <a:normAutofit/>
          </a:bodyPr>
          <a:lstStyle>
            <a:lvl1pPr algn="ctr">
              <a:defRPr sz="3600">
                <a:solidFill>
                  <a:srgbClr val="00467F"/>
                </a:solidFill>
              </a:defRPr>
            </a:lvl1pPr>
          </a:lstStyle>
          <a:p>
            <a:r>
              <a:rPr lang="en-US" dirty="0"/>
              <a:t>Click to edit Transition Slide with background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733800"/>
            <a:ext cx="8534400" cy="685800"/>
          </a:xfrm>
        </p:spPr>
        <p:txBody>
          <a:bodyPr/>
          <a:lstStyle>
            <a:lvl1pPr marL="0" indent="0" algn="ctr">
              <a:buNone/>
              <a:defRPr>
                <a:solidFill>
                  <a:srgbClr val="0046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Transition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518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9884" y="1447801"/>
            <a:ext cx="10672232" cy="2307183"/>
          </a:xfrm>
        </p:spPr>
        <p:txBody>
          <a:bodyPr vert="horz" lIns="91440" tIns="45720" rIns="91440" bIns="45720" rtlCol="0" anchor="b" anchorCtr="0">
            <a:normAutofit/>
          </a:bodyPr>
          <a:lstStyle>
            <a:lvl1pPr algn="ctr">
              <a:defRPr lang="en-US" sz="4000" b="0" cap="none">
                <a:solidFill>
                  <a:srgbClr val="00467F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Section slide with no background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3986214"/>
            <a:ext cx="10363200" cy="1500187"/>
          </a:xfrm>
        </p:spPr>
        <p:txBody>
          <a:bodyPr vert="horz" lIns="91440" tIns="45720" rIns="91440" bIns="45720" rtlCol="0" anchor="t" anchorCtr="0">
            <a:normAutofit/>
          </a:bodyPr>
          <a:lstStyle>
            <a:lvl1pPr marL="236538" indent="-236538" algn="ctr">
              <a:buNone/>
              <a:defRPr lang="en-US" smtClean="0">
                <a:solidFill>
                  <a:srgbClr val="00467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 algn="ctr">
              <a:spcBef>
                <a:spcPct val="20000"/>
              </a:spcBef>
              <a:buClr>
                <a:srgbClr val="C00000"/>
              </a:buClr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966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81912509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737600" cy="825064"/>
          </a:xfrm>
          <a:prstGeom prst="rect">
            <a:avLst/>
          </a:prstGeom>
          <a:effectLst>
            <a:outerShdw blurRad="50800" dist="25400" dir="8100000" algn="tr" rotWithShape="0">
              <a:schemeClr val="bg1"/>
            </a:outerShdw>
          </a:effectLst>
        </p:spPr>
        <p:txBody>
          <a:bodyPr vert="horz" lIns="91440" tIns="45720" rIns="91440" bIns="45720" rtlCol="0" anchor="b" anchorCtr="0">
            <a:normAutofit/>
          </a:bodyPr>
          <a:lstStyle/>
          <a:p>
            <a:pPr lvl="0" algn="l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5379" y="1295400"/>
            <a:ext cx="11400221" cy="4953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-304800" y="6584796"/>
            <a:ext cx="914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5D26C13-F0D3-47ED-963B-8C497237818C}" type="slidenum">
              <a:rPr lang="en-US" sz="9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  <p:custDataLst>
      <p:tags r:id="rId18"/>
    </p:custDataLst>
    <p:extLst>
      <p:ext uri="{BB962C8B-B14F-4D97-AF65-F5344CB8AC3E}">
        <p14:creationId xmlns:p14="http://schemas.microsoft.com/office/powerpoint/2010/main" val="3616104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spcBef>
          <a:spcPct val="0"/>
        </a:spcBef>
        <a:buNone/>
        <a:defRPr lang="en-US" sz="2800" kern="1200" dirty="0">
          <a:solidFill>
            <a:srgbClr val="00467F"/>
          </a:solidFill>
          <a:effectLst/>
          <a:latin typeface="Arial" pitchFamily="34" charset="0"/>
          <a:ea typeface="+mj-ea"/>
          <a:cs typeface="Arial" pitchFamily="34" charset="0"/>
        </a:defRPr>
      </a:lvl1pPr>
    </p:titleStyle>
    <p:bodyStyle>
      <a:lvl1pPr marL="236538" indent="-236538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2000" kern="1200">
          <a:solidFill>
            <a:srgbClr val="00467F"/>
          </a:solidFill>
          <a:latin typeface="+mn-lt"/>
          <a:ea typeface="+mn-ea"/>
          <a:cs typeface="+mn-cs"/>
        </a:defRPr>
      </a:lvl1pPr>
      <a:lvl2pPr marL="693738" indent="-236538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–"/>
        <a:defRPr sz="1800" kern="1200">
          <a:solidFill>
            <a:srgbClr val="00467F"/>
          </a:solidFill>
          <a:latin typeface="+mn-lt"/>
          <a:ea typeface="+mn-ea"/>
          <a:cs typeface="+mn-cs"/>
        </a:defRPr>
      </a:lvl2pPr>
      <a:lvl3pPr marL="1087438" indent="-173038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>
          <a:solidFill>
            <a:srgbClr val="00467F"/>
          </a:solidFill>
          <a:latin typeface="+mn-lt"/>
          <a:ea typeface="+mn-ea"/>
          <a:cs typeface="+mn-cs"/>
        </a:defRPr>
      </a:lvl3pPr>
      <a:lvl4pPr marL="1544638" indent="-173038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–"/>
        <a:defRPr sz="1400" kern="1200">
          <a:solidFill>
            <a:srgbClr val="00467F"/>
          </a:solidFill>
          <a:latin typeface="+mn-lt"/>
          <a:ea typeface="+mn-ea"/>
          <a:cs typeface="+mn-cs"/>
        </a:defRPr>
      </a:lvl4pPr>
      <a:lvl5pPr marL="2001838" indent="-173038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»"/>
        <a:defRPr sz="1400" kern="1200">
          <a:solidFill>
            <a:srgbClr val="00467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791FDAE-6212-4FB4-8261-4FA8D35B5A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538C6E-18AC-4836-B42A-E8C297FE79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C1B4CF-0B75-430C-AE3D-90C7CD9D7C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4EE1DD-5B42-4061-B640-71AFA9DB5B70}" type="datetimeFigureOut">
              <a:rPr lang="en-US" smtClean="0"/>
              <a:t>4/16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D0FAAB-8FBF-43F9-8365-B865A59C65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C16447-7C29-4634-A4AB-6286A2ECCA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C325CA-F06C-48A1-AF50-5DDD2DFC2D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39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F0DCD-52F5-47C6-B5D0-73BD8D9787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5129" y="3036772"/>
            <a:ext cx="9820507" cy="990601"/>
          </a:xfrm>
        </p:spPr>
        <p:txBody>
          <a:bodyPr>
            <a:normAutofit fontScale="90000"/>
          </a:bodyPr>
          <a:lstStyle/>
          <a:p>
            <a:r>
              <a:rPr lang="en-US" dirty="0"/>
              <a:t>(G)</a:t>
            </a:r>
            <a:r>
              <a:rPr lang="en-US" dirty="0" err="1"/>
              <a:t>rafana</a:t>
            </a:r>
            <a:r>
              <a:rPr lang="en-US" dirty="0"/>
              <a:t>-</a:t>
            </a:r>
            <a:br>
              <a:rPr lang="en-US" dirty="0"/>
            </a:br>
            <a:r>
              <a:rPr lang="en-US" dirty="0"/>
              <a:t>         (A)</a:t>
            </a:r>
            <a:r>
              <a:rPr lang="en-US" dirty="0" err="1"/>
              <a:t>lertmanager</a:t>
            </a:r>
            <a:r>
              <a:rPr lang="en-US" dirty="0"/>
              <a:t> -</a:t>
            </a:r>
            <a:br>
              <a:rPr lang="en-US" dirty="0"/>
            </a:br>
            <a:r>
              <a:rPr lang="en-US" dirty="0"/>
              <a:t>       (P)</a:t>
            </a:r>
            <a:r>
              <a:rPr lang="en-US" dirty="0" err="1"/>
              <a:t>rometheus</a:t>
            </a:r>
            <a:r>
              <a:rPr lang="en-US" dirty="0"/>
              <a:t> -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DC5E738-DBD4-4441-B3A5-31E11CD9D8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4425043"/>
            <a:ext cx="8534400" cy="685800"/>
          </a:xfrm>
        </p:spPr>
        <p:txBody>
          <a:bodyPr/>
          <a:lstStyle/>
          <a:p>
            <a:r>
              <a:rPr lang="en-US" dirty="0"/>
              <a:t>          Monitoring Solution for Cloud Platforms</a:t>
            </a:r>
          </a:p>
        </p:txBody>
      </p:sp>
    </p:spTree>
    <p:extLst>
      <p:ext uri="{BB962C8B-B14F-4D97-AF65-F5344CB8AC3E}">
        <p14:creationId xmlns:p14="http://schemas.microsoft.com/office/powerpoint/2010/main" val="75282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95267-ECB4-42E8-B803-82F0BBE95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1579" y="804519"/>
            <a:ext cx="3953541" cy="262281"/>
          </a:xfrm>
        </p:spPr>
        <p:txBody>
          <a:bodyPr>
            <a:normAutofit fontScale="90000"/>
          </a:bodyPr>
          <a:lstStyle/>
          <a:p>
            <a:r>
              <a:rPr lang="en-US" dirty="0"/>
              <a:t>Archite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386B1D6-9006-44EB-8A0F-80CB55F835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7198" y="1388256"/>
            <a:ext cx="10254227" cy="5926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7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95267-ECB4-42E8-B803-82F0BBE95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243" y="499621"/>
            <a:ext cx="6372520" cy="567179"/>
          </a:xfrm>
        </p:spPr>
        <p:txBody>
          <a:bodyPr>
            <a:normAutofit fontScale="90000"/>
          </a:bodyPr>
          <a:lstStyle/>
          <a:p>
            <a:r>
              <a:rPr lang="en-US" dirty="0"/>
              <a:t>Prometheus Configuration – Current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828C1B-3740-4398-98E3-4268EC5B6E63}"/>
              </a:ext>
            </a:extLst>
          </p:cNvPr>
          <p:cNvSpPr txBox="1"/>
          <p:nvPr/>
        </p:nvSpPr>
        <p:spPr>
          <a:xfrm>
            <a:off x="65988" y="1216058"/>
            <a:ext cx="1171961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metheus installed version is 2.2.0 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metheus pulls all the metrics from the targets defined and store in </a:t>
            </a:r>
            <a:r>
              <a:rPr lang="en-US" dirty="0" err="1"/>
              <a:t>TimeSeries</a:t>
            </a:r>
            <a:r>
              <a:rPr lang="en-US" dirty="0"/>
              <a:t> Database 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metheus Alert rules are written  on NFS location /data/</a:t>
            </a:r>
            <a:r>
              <a:rPr lang="en-US" dirty="0" err="1"/>
              <a:t>prometheus</a:t>
            </a:r>
            <a:r>
              <a:rPr lang="en-US" dirty="0"/>
              <a:t>-rules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rrent retention period of data is 90 day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de-exporter is running on all the clusters as a daemon to collect the node level metric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de-exporter is also running on Global Prometheus servers as a service 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cal Prometheus servers are federated into Global Prometheus serv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27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95267-ECB4-42E8-B803-82F0BBE95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243" y="499621"/>
            <a:ext cx="7428072" cy="567179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Alertmanager</a:t>
            </a:r>
            <a:r>
              <a:rPr lang="en-US" dirty="0"/>
              <a:t> Configur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E0D52E-47DB-4121-BAE2-17603C5B92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656" y="3719469"/>
            <a:ext cx="11483941" cy="3062140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groups: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- name: Prometheus-</a:t>
            </a:r>
            <a:r>
              <a:rPr lang="en-US" dirty="0" err="1">
                <a:solidFill>
                  <a:schemeClr val="accent6">
                    <a:lumMod val="50000"/>
                  </a:schemeClr>
                </a:solidFill>
              </a:rPr>
              <a:t>status.rules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  rules: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  - alert: </a:t>
            </a:r>
            <a:r>
              <a:rPr lang="en-US" dirty="0" err="1">
                <a:solidFill>
                  <a:schemeClr val="accent6">
                    <a:lumMod val="50000"/>
                  </a:schemeClr>
                </a:solidFill>
              </a:rPr>
              <a:t>PrometheusDown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    expr: absent(up{job="</a:t>
            </a:r>
            <a:r>
              <a:rPr lang="en-US" dirty="0" err="1">
                <a:solidFill>
                  <a:schemeClr val="accent6">
                    <a:lumMod val="50000"/>
                  </a:schemeClr>
                </a:solidFill>
              </a:rPr>
              <a:t>oc_prometheus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"}) or absent(up{job="</a:t>
            </a:r>
            <a:r>
              <a:rPr lang="en-US" dirty="0" err="1">
                <a:solidFill>
                  <a:schemeClr val="accent6">
                    <a:lumMod val="50000"/>
                  </a:schemeClr>
                </a:solidFill>
              </a:rPr>
              <a:t>prometheus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"}) or up{job="</a:t>
            </a:r>
            <a:r>
              <a:rPr lang="en-US" dirty="0" err="1">
                <a:solidFill>
                  <a:schemeClr val="accent6">
                    <a:lumMod val="50000"/>
                  </a:schemeClr>
                </a:solidFill>
              </a:rPr>
              <a:t>prometheus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"} == 0 or up{job="</a:t>
            </a:r>
            <a:r>
              <a:rPr lang="en-US" dirty="0" err="1">
                <a:solidFill>
                  <a:schemeClr val="accent6">
                    <a:lumMod val="50000"/>
                  </a:schemeClr>
                </a:solidFill>
              </a:rPr>
              <a:t>oc_prometheus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"} == 0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    for: 5m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    labels: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      severity: 2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    annotations: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      DESCRIPTION: "{{$</a:t>
            </a:r>
            <a:r>
              <a:rPr lang="en-US" dirty="0" err="1">
                <a:solidFill>
                  <a:schemeClr val="accent6">
                    <a:lumMod val="50000"/>
                  </a:schemeClr>
                </a:solidFill>
              </a:rPr>
              <a:t>labels.instance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}} </a:t>
            </a:r>
            <a:r>
              <a:rPr lang="en-US" dirty="0" err="1">
                <a:solidFill>
                  <a:schemeClr val="accent6">
                    <a:lumMod val="50000"/>
                  </a:schemeClr>
                </a:solidFill>
              </a:rPr>
              <a:t>prometheus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 service is down"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      SUMMARY: "{{$</a:t>
            </a:r>
            <a:r>
              <a:rPr lang="en-US" dirty="0" err="1">
                <a:solidFill>
                  <a:schemeClr val="accent6">
                    <a:lumMod val="50000"/>
                  </a:schemeClr>
                </a:solidFill>
              </a:rPr>
              <a:t>labels.instance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}} </a:t>
            </a:r>
            <a:r>
              <a:rPr lang="en-US" dirty="0" err="1">
                <a:solidFill>
                  <a:schemeClr val="accent6">
                    <a:lumMod val="50000"/>
                  </a:schemeClr>
                </a:solidFill>
              </a:rPr>
              <a:t>prometheus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 service is down"</a:t>
            </a:r>
          </a:p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828C1B-3740-4398-98E3-4268EC5B6E63}"/>
              </a:ext>
            </a:extLst>
          </p:cNvPr>
          <p:cNvSpPr txBox="1"/>
          <p:nvPr/>
        </p:nvSpPr>
        <p:spPr>
          <a:xfrm>
            <a:off x="183822" y="1066800"/>
            <a:ext cx="1171961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Alertmanager</a:t>
            </a:r>
            <a:r>
              <a:rPr lang="en-US" dirty="0"/>
              <a:t> version configured is  0.14.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ert managers are working in mesh configuration to provide HA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ert manager can configured to send the notification to different channels as per requirement 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Alertmanger</a:t>
            </a:r>
            <a:r>
              <a:rPr lang="en-US" dirty="0"/>
              <a:t> has been integrated with </a:t>
            </a:r>
            <a:r>
              <a:rPr lang="en-US" dirty="0" err="1"/>
              <a:t>Truesight</a:t>
            </a:r>
            <a:r>
              <a:rPr lang="en-US" dirty="0"/>
              <a:t> using </a:t>
            </a:r>
            <a:r>
              <a:rPr lang="en-US" dirty="0" err="1"/>
              <a:t>nodejs</a:t>
            </a:r>
            <a:r>
              <a:rPr lang="en-US" dirty="0"/>
              <a:t> AP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sample Alert Rule file ::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165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95267-ECB4-42E8-B803-82F0BBE95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afana Configuration – Current 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828C1B-3740-4398-98E3-4268EC5B6E63}"/>
              </a:ext>
            </a:extLst>
          </p:cNvPr>
          <p:cNvSpPr txBox="1"/>
          <p:nvPr/>
        </p:nvSpPr>
        <p:spPr>
          <a:xfrm>
            <a:off x="65988" y="1216058"/>
            <a:ext cx="1171961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Grafana</a:t>
            </a:r>
            <a:r>
              <a:rPr lang="en-US" dirty="0"/>
              <a:t> server installed version is 4.6.3 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Grafana</a:t>
            </a:r>
            <a:r>
              <a:rPr lang="en-US" dirty="0"/>
              <a:t> has been configured with primary data source as Prometheu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Grafana</a:t>
            </a:r>
            <a:r>
              <a:rPr lang="en-US" dirty="0"/>
              <a:t> displays the collected metrics in Dashboard patterns according the query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ccess to </a:t>
            </a:r>
            <a:r>
              <a:rPr lang="en-US" dirty="0" err="1"/>
              <a:t>Grafana</a:t>
            </a:r>
            <a:r>
              <a:rPr lang="en-US" dirty="0"/>
              <a:t> is LDAP authenticat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shboard the Node Level Metrics , Cluster Level metrics , Container Level metrics and Application health Check has been developed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445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95267-ECB4-42E8-B803-82F0BBE95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243" y="499621"/>
            <a:ext cx="6372520" cy="567179"/>
          </a:xfrm>
        </p:spPr>
        <p:txBody>
          <a:bodyPr>
            <a:normAutofit fontScale="90000"/>
          </a:bodyPr>
          <a:lstStyle/>
          <a:p>
            <a:r>
              <a:rPr lang="en-US" dirty="0"/>
              <a:t>GAP – Future Developm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828C1B-3740-4398-98E3-4268EC5B6E63}"/>
              </a:ext>
            </a:extLst>
          </p:cNvPr>
          <p:cNvSpPr txBox="1"/>
          <p:nvPr/>
        </p:nvSpPr>
        <p:spPr>
          <a:xfrm>
            <a:off x="0" y="1187778"/>
            <a:ext cx="11719611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grade Prometheus to 2.2.1 version 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grade Alert manager to 0.15.0 version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grade Node Exported to 0.16.0 version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grade </a:t>
            </a:r>
            <a:r>
              <a:rPr lang="en-US" dirty="0" err="1"/>
              <a:t>Grafana</a:t>
            </a:r>
            <a:r>
              <a:rPr lang="en-US" dirty="0"/>
              <a:t> to 5.0.3 ver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tend the Prometheus monitoring solution to monitor the other cloud </a:t>
            </a:r>
            <a:r>
              <a:rPr lang="en-US"/>
              <a:t>platforms specially PCF.</a:t>
            </a:r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velop the new Dashboards as per requirement or to provide better view of cloud environme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eep on adding the Alert rules as per requirement of end users 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re the other channels like slack , </a:t>
            </a:r>
            <a:r>
              <a:rPr lang="en-US" dirty="0" err="1"/>
              <a:t>mattermost</a:t>
            </a:r>
            <a:r>
              <a:rPr lang="en-US" dirty="0"/>
              <a:t> to send the notification of Prometheus aler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 revisit the requirement of the retention period of the Prometheus timeseries data.</a:t>
            </a:r>
          </a:p>
        </p:txBody>
      </p:sp>
    </p:spTree>
    <p:extLst>
      <p:ext uri="{BB962C8B-B14F-4D97-AF65-F5344CB8AC3E}">
        <p14:creationId xmlns:p14="http://schemas.microsoft.com/office/powerpoint/2010/main" val="2551744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95267-ECB4-42E8-B803-82F0BBE95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243" y="499621"/>
            <a:ext cx="6372520" cy="567179"/>
          </a:xfrm>
        </p:spPr>
        <p:txBody>
          <a:bodyPr>
            <a:normAutofit fontScale="90000"/>
          </a:bodyPr>
          <a:lstStyle/>
          <a:p>
            <a:r>
              <a:rPr lang="en-US" dirty="0"/>
              <a:t>Questions 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042FDF6-6332-4E81-BDE9-CA74DBB545DB}"/>
              </a:ext>
            </a:extLst>
          </p:cNvPr>
          <p:cNvSpPr/>
          <p:nvPr/>
        </p:nvSpPr>
        <p:spPr>
          <a:xfrm>
            <a:off x="3951664" y="2967335"/>
            <a:ext cx="428867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50438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BSC External PPT template">
  <a:themeElements>
    <a:clrScheme name="BostonScientific">
      <a:dk1>
        <a:srgbClr val="00467F"/>
      </a:dk1>
      <a:lt1>
        <a:sysClr val="window" lastClr="FFFFFF"/>
      </a:lt1>
      <a:dk2>
        <a:srgbClr val="00467F"/>
      </a:dk2>
      <a:lt2>
        <a:srgbClr val="FFFFFF"/>
      </a:lt2>
      <a:accent1>
        <a:srgbClr val="00467F"/>
      </a:accent1>
      <a:accent2>
        <a:srgbClr val="008ECD"/>
      </a:accent2>
      <a:accent3>
        <a:srgbClr val="317023"/>
      </a:accent3>
      <a:accent4>
        <a:srgbClr val="76B900"/>
      </a:accent4>
      <a:accent5>
        <a:srgbClr val="793249"/>
      </a:accent5>
      <a:accent6>
        <a:srgbClr val="6A737B"/>
      </a:accent6>
      <a:hlink>
        <a:srgbClr val="008ECD"/>
      </a:hlink>
      <a:folHlink>
        <a:srgbClr val="31702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SC Internal PPT template 2</Template>
  <TotalTime>129</TotalTime>
  <Words>411</Words>
  <Application>Microsoft Office PowerPoint</Application>
  <PresentationFormat>Widescreen</PresentationFormat>
  <Paragraphs>7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BSC External PPT template</vt:lpstr>
      <vt:lpstr>Office Theme</vt:lpstr>
      <vt:lpstr>think-cell Slide</vt:lpstr>
      <vt:lpstr>(G)rafana-          (A)lertmanager -        (P)rometheus -</vt:lpstr>
      <vt:lpstr>Architecture</vt:lpstr>
      <vt:lpstr>Prometheus Configuration – Current </vt:lpstr>
      <vt:lpstr>Alertmanager Configuration</vt:lpstr>
      <vt:lpstr>Grafana Configuration – Current </vt:lpstr>
      <vt:lpstr>GAP – Future Developments</vt:lpstr>
      <vt:lpstr>Questions 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(G)rafana- (A)lertmanager - (P)rometheus -</dc:title>
  <dc:creator>Chauhan, Shyamkumar L</dc:creator>
  <cp:lastModifiedBy>Chauhan, Shyamkumar L</cp:lastModifiedBy>
  <cp:revision>10</cp:revision>
  <dcterms:created xsi:type="dcterms:W3CDTF">2018-03-27T06:01:19Z</dcterms:created>
  <dcterms:modified xsi:type="dcterms:W3CDTF">2019-04-16T08:27:47Z</dcterms:modified>
</cp:coreProperties>
</file>